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76" r:id="rId2"/>
  </p:sldMasterIdLst>
  <p:notesMasterIdLst>
    <p:notesMasterId r:id="rId6"/>
  </p:notesMasterIdLst>
  <p:handoutMasterIdLst>
    <p:handoutMasterId r:id="rId7"/>
  </p:handoutMasterIdLst>
  <p:sldIdLst>
    <p:sldId id="525" r:id="rId3"/>
    <p:sldId id="527" r:id="rId4"/>
    <p:sldId id="536" r:id="rId5"/>
  </p:sldIdLst>
  <p:sldSz cx="9144000" cy="5143500" type="screen16x9"/>
  <p:notesSz cx="7010400" cy="9223375"/>
  <p:defaultTextStyle>
    <a:defPPr>
      <a:defRPr lang="es-ES_tradnl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708">
          <p15:clr>
            <a:srgbClr val="A4A3A4"/>
          </p15:clr>
        </p15:guide>
        <p15:guide id="2" pos="973">
          <p15:clr>
            <a:srgbClr val="A4A3A4"/>
          </p15:clr>
        </p15:guide>
        <p15:guide id="3" pos="3443">
          <p15:clr>
            <a:srgbClr val="A4A3A4"/>
          </p15:clr>
        </p15:guide>
        <p15:guide id="4" pos="3968">
          <p15:clr>
            <a:srgbClr val="A4A3A4"/>
          </p15:clr>
        </p15:guide>
        <p15:guide id="5" pos="3198">
          <p15:clr>
            <a:srgbClr val="A4A3A4"/>
          </p15:clr>
        </p15:guide>
        <p15:guide id="6" pos="1462">
          <p15:clr>
            <a:srgbClr val="A4A3A4"/>
          </p15:clr>
        </p15:guide>
        <p15:guide id="7" pos="1716">
          <p15:clr>
            <a:srgbClr val="A4A3A4"/>
          </p15:clr>
        </p15:guide>
        <p15:guide id="8" pos="2953">
          <p15:clr>
            <a:srgbClr val="A4A3A4"/>
          </p15:clr>
        </p15:guide>
        <p15:guide id="9" pos="2208">
          <p15:clr>
            <a:srgbClr val="A4A3A4"/>
          </p15:clr>
        </p15:guide>
        <p15:guide id="10" pos="1224">
          <p15:clr>
            <a:srgbClr val="A4A3A4"/>
          </p15:clr>
        </p15:guide>
        <p15:guide id="11" pos="2707">
          <p15:clr>
            <a:srgbClr val="A4A3A4"/>
          </p15:clr>
        </p15:guide>
        <p15:guide id="12" pos="1965">
          <p15:clr>
            <a:srgbClr val="A4A3A4"/>
          </p15:clr>
        </p15:guide>
        <p15:guide id="13" pos="2456">
          <p15:clr>
            <a:srgbClr val="A4A3A4"/>
          </p15:clr>
        </p15:guide>
        <p15:guide id="14" pos="3693">
          <p15:clr>
            <a:srgbClr val="A4A3A4"/>
          </p15:clr>
        </p15:guide>
        <p15:guide id="15" orient="horz" pos="769">
          <p15:clr>
            <a:srgbClr val="A4A3A4"/>
          </p15:clr>
        </p15:guide>
        <p15:guide id="16" orient="horz" pos="1453">
          <p15:clr>
            <a:srgbClr val="A4A3A4"/>
          </p15:clr>
        </p15:guide>
        <p15:guide id="17" pos="6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orrea Diaz, Cristian (CL - Santiago)" initials="CDC(-S" lastIdx="16" clrIdx="0"/>
  <p:cmAuthor id="2" name="Maria Cecilia Frias Rodriguez" initials="MCFR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D2DEEF"/>
    <a:srgbClr val="000C71"/>
    <a:srgbClr val="002060"/>
    <a:srgbClr val="062460"/>
    <a:srgbClr val="C00000"/>
    <a:srgbClr val="FFC000"/>
    <a:srgbClr val="BFBFBF"/>
    <a:srgbClr val="FFFFFF"/>
    <a:srgbClr val="A5A5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 horzBarState="maximized">
    <p:restoredLeft sz="19559" autoAdjust="0"/>
    <p:restoredTop sz="97674" autoAdjust="0"/>
  </p:normalViewPr>
  <p:slideViewPr>
    <p:cSldViewPr snapToGrid="0" snapToObjects="1">
      <p:cViewPr>
        <p:scale>
          <a:sx n="80" d="100"/>
          <a:sy n="80" d="100"/>
        </p:scale>
        <p:origin x="-900" y="-378"/>
      </p:cViewPr>
      <p:guideLst>
        <p:guide orient="horz" pos="708"/>
        <p:guide orient="horz" pos="769"/>
        <p:guide orient="horz" pos="1453"/>
        <p:guide pos="973"/>
        <p:guide pos="3443"/>
        <p:guide pos="3968"/>
        <p:guide pos="3198"/>
        <p:guide pos="1462"/>
        <p:guide pos="1716"/>
        <p:guide pos="2953"/>
        <p:guide pos="2208"/>
        <p:guide pos="1224"/>
        <p:guide pos="2707"/>
        <p:guide pos="1965"/>
        <p:guide pos="2456"/>
        <p:guide pos="3693"/>
        <p:guide pos="64"/>
      </p:guideLst>
    </p:cSldViewPr>
  </p:slideViewPr>
  <p:outlineViewPr>
    <p:cViewPr>
      <p:scale>
        <a:sx n="33" d="100"/>
        <a:sy n="33" d="100"/>
      </p:scale>
      <p:origin x="0" y="-269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136" d="100"/>
          <a:sy n="136" d="100"/>
        </p:scale>
        <p:origin x="4944" y="21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1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2771"/>
          </a:xfrm>
          <a:prstGeom prst="rect">
            <a:avLst/>
          </a:prstGeom>
        </p:spPr>
        <p:txBody>
          <a:bodyPr vert="horz" lIns="92757" tIns="46378" rIns="92757" bIns="46378" rtlCol="0"/>
          <a:lstStyle>
            <a:lvl1pPr algn="l">
              <a:defRPr sz="1200"/>
            </a:lvl1pPr>
          </a:lstStyle>
          <a:p>
            <a:endParaRPr lang="es-ES_tradnl" dirty="0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970938" y="1"/>
            <a:ext cx="3037840" cy="462771"/>
          </a:xfrm>
          <a:prstGeom prst="rect">
            <a:avLst/>
          </a:prstGeom>
        </p:spPr>
        <p:txBody>
          <a:bodyPr vert="horz" lIns="92757" tIns="46378" rIns="92757" bIns="46378" rtlCol="0"/>
          <a:lstStyle>
            <a:lvl1pPr algn="r">
              <a:defRPr sz="1200"/>
            </a:lvl1pPr>
          </a:lstStyle>
          <a:p>
            <a:fld id="{97D9D1BE-653B-584B-B38F-C51C923661B0}" type="datetimeFigureOut">
              <a:rPr lang="es-ES_tradnl" smtClean="0"/>
              <a:t>10/09/2019</a:t>
            </a:fld>
            <a:endParaRPr lang="es-ES_tradn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8760606"/>
            <a:ext cx="3037840" cy="462770"/>
          </a:xfrm>
          <a:prstGeom prst="rect">
            <a:avLst/>
          </a:prstGeom>
        </p:spPr>
        <p:txBody>
          <a:bodyPr vert="horz" lIns="92757" tIns="46378" rIns="92757" bIns="46378" rtlCol="0" anchor="b"/>
          <a:lstStyle>
            <a:lvl1pPr algn="l">
              <a:defRPr sz="1200"/>
            </a:lvl1pPr>
          </a:lstStyle>
          <a:p>
            <a:endParaRPr lang="es-ES_tradn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970938" y="8760606"/>
            <a:ext cx="3037840" cy="462770"/>
          </a:xfrm>
          <a:prstGeom prst="rect">
            <a:avLst/>
          </a:prstGeom>
        </p:spPr>
        <p:txBody>
          <a:bodyPr vert="horz" lIns="92757" tIns="46378" rIns="92757" bIns="46378" rtlCol="0" anchor="b"/>
          <a:lstStyle>
            <a:lvl1pPr algn="r">
              <a:defRPr sz="1200"/>
            </a:lvl1pPr>
          </a:lstStyle>
          <a:p>
            <a:fld id="{D7AD4966-4395-5C4A-B762-6D7A6BF17DD4}" type="slidenum">
              <a:rPr lang="es-ES_tradnl" smtClean="0"/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4447246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1169"/>
          </a:xfrm>
          <a:prstGeom prst="rect">
            <a:avLst/>
          </a:prstGeom>
        </p:spPr>
        <p:txBody>
          <a:bodyPr vert="horz" lIns="92757" tIns="46378" rIns="92757" bIns="46378" rtlCol="0"/>
          <a:lstStyle>
            <a:lvl1pPr algn="l">
              <a:defRPr sz="1200"/>
            </a:lvl1pPr>
          </a:lstStyle>
          <a:p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970938" y="1"/>
            <a:ext cx="3037840" cy="461169"/>
          </a:xfrm>
          <a:prstGeom prst="rect">
            <a:avLst/>
          </a:prstGeom>
        </p:spPr>
        <p:txBody>
          <a:bodyPr vert="horz" lIns="92757" tIns="46378" rIns="92757" bIns="46378" rtlCol="0"/>
          <a:lstStyle>
            <a:lvl1pPr algn="r">
              <a:defRPr sz="1200"/>
            </a:lvl1pPr>
          </a:lstStyle>
          <a:p>
            <a:fld id="{57C76B47-D981-4554-9767-1C73E8868923}" type="datetimeFigureOut">
              <a:rPr lang="es-CL" smtClean="0"/>
              <a:t>10/09/2019</a:t>
            </a:fld>
            <a:endParaRPr lang="es-CL" dirty="0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430213" y="692150"/>
            <a:ext cx="6149975" cy="34591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757" tIns="46378" rIns="92757" bIns="46378" rtlCol="0" anchor="ctr"/>
          <a:lstStyle/>
          <a:p>
            <a:endParaRPr lang="es-CL" dirty="0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701040" y="4381104"/>
            <a:ext cx="5608320" cy="4150519"/>
          </a:xfrm>
          <a:prstGeom prst="rect">
            <a:avLst/>
          </a:prstGeom>
        </p:spPr>
        <p:txBody>
          <a:bodyPr vert="horz" lIns="92757" tIns="46378" rIns="92757" bIns="46378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760606"/>
            <a:ext cx="3037840" cy="461169"/>
          </a:xfrm>
          <a:prstGeom prst="rect">
            <a:avLst/>
          </a:prstGeom>
        </p:spPr>
        <p:txBody>
          <a:bodyPr vert="horz" lIns="92757" tIns="46378" rIns="92757" bIns="46378" rtlCol="0" anchor="b"/>
          <a:lstStyle>
            <a:lvl1pPr algn="l">
              <a:defRPr sz="1200"/>
            </a:lvl1pPr>
          </a:lstStyle>
          <a:p>
            <a:endParaRPr lang="es-CL" dirty="0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970938" y="8760606"/>
            <a:ext cx="3037840" cy="461169"/>
          </a:xfrm>
          <a:prstGeom prst="rect">
            <a:avLst/>
          </a:prstGeom>
        </p:spPr>
        <p:txBody>
          <a:bodyPr vert="horz" lIns="92757" tIns="46378" rIns="92757" bIns="46378" rtlCol="0" anchor="b"/>
          <a:lstStyle>
            <a:lvl1pPr algn="r">
              <a:defRPr sz="1200"/>
            </a:lvl1pPr>
          </a:lstStyle>
          <a:p>
            <a:fld id="{007A3EA9-9839-447B-965D-1F6BA56ED820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0413710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431800" y="692150"/>
            <a:ext cx="6146800" cy="3457575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AutoNum type="romanUcPeriod"/>
            </a:pPr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1A65F2-1534-4146-A3A6-D91192A2B593}" type="slidenum">
              <a:rPr lang="es-CL" smtClean="0">
                <a:solidFill>
                  <a:prstClr val="black"/>
                </a:solidFill>
              </a:rPr>
              <a:pPr/>
              <a:t>2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04786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431800" y="692150"/>
            <a:ext cx="6146800" cy="3457575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AutoNum type="romanUcPeriod"/>
            </a:pPr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1A65F2-1534-4146-A3A6-D91192A2B593}" type="slidenum">
              <a:rPr lang="es-CL" smtClean="0">
                <a:solidFill>
                  <a:prstClr val="black"/>
                </a:solidFill>
              </a:rPr>
              <a:pPr/>
              <a:t>3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04786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2222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26833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70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1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3B8437-7A9A-412E-89A2-903400CC80CC}" type="datetime1">
              <a:rPr lang="es-ES_tradnl" smtClean="0"/>
              <a:t>10/09/2019</a:t>
            </a:fld>
            <a:endParaRPr lang="es-ES_tradnl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C9EDEA-BF0A-5748-8B5C-D9F8C9ACFE01}" type="slidenum">
              <a:rPr lang="es-ES_tradnl" smtClean="0"/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3769284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740570"/>
            <a:ext cx="4629150" cy="3655219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s-ES_tradnl" dirty="0"/>
              <a:t>Arrastre la imagen al marcador de posición o haga clic en el icono para agregarla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1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52EDE7-E2EE-4B84-9573-4534868249BF}" type="datetime1">
              <a:rPr lang="es-ES_tradnl" smtClean="0"/>
              <a:t>10/09/2019</a:t>
            </a:fld>
            <a:endParaRPr lang="es-ES_tradnl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C9EDEA-BF0A-5748-8B5C-D9F8C9ACFE01}" type="slidenum">
              <a:rPr lang="es-ES_tradnl" smtClean="0"/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7523429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61D383-B63C-4F9E-80C7-88D63D226C16}" type="datetime1">
              <a:rPr lang="es-ES_tradnl" smtClean="0"/>
              <a:t>10/09/2019</a:t>
            </a:fld>
            <a:endParaRPr lang="es-ES_tradnl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C9EDEA-BF0A-5748-8B5C-D9F8C9ACFE01}" type="slidenum">
              <a:rPr lang="es-ES_tradnl" smtClean="0"/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440454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273846"/>
            <a:ext cx="1971675" cy="4358879"/>
          </a:xfrm>
        </p:spPr>
        <p:txBody>
          <a:bodyPr vert="eaVert"/>
          <a:lstStyle/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3" y="273846"/>
            <a:ext cx="5800725" cy="4358879"/>
          </a:xfrm>
        </p:spPr>
        <p:txBody>
          <a:bodyPr vert="eaVert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CB7DF6-56F4-4A40-B39C-0C6CF88558B2}" type="datetime1">
              <a:rPr lang="es-ES_tradnl" smtClean="0"/>
              <a:t>10/09/2019</a:t>
            </a:fld>
            <a:endParaRPr lang="es-ES_tradnl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C9EDEA-BF0A-5748-8B5C-D9F8C9ACFE01}" type="slidenum">
              <a:rPr lang="es-ES_tradnl" smtClean="0"/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1252598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58" y="0"/>
            <a:ext cx="9156636" cy="5150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87178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7 Objeto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5024576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6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Imagen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" y="0"/>
            <a:ext cx="9163083" cy="435482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457200" y="611120"/>
            <a:ext cx="8229600" cy="857250"/>
          </a:xfrm>
        </p:spPr>
        <p:txBody>
          <a:bodyPr>
            <a:normAutofit/>
          </a:bodyPr>
          <a:lstStyle>
            <a:lvl1pPr algn="l">
              <a:defRPr sz="2800" b="1">
                <a:solidFill>
                  <a:schemeClr val="tx1">
                    <a:lumMod val="65000"/>
                    <a:lumOff val="35000"/>
                  </a:schemeClr>
                </a:solidFill>
                <a:latin typeface="Arial (cuerpo)"/>
              </a:defRPr>
            </a:lvl1pPr>
          </a:lstStyle>
          <a:p>
            <a:r>
              <a:rPr lang="es-ES_tradnl" dirty="0" smtClean="0"/>
              <a:t>CLIC PARA EDITAR TÍTULO</a:t>
            </a:r>
            <a:endParaRPr lang="es-ES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457200" y="1605292"/>
            <a:ext cx="8229600" cy="3394472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Arial (cuerpo)"/>
              </a:defRPr>
            </a:lvl1pPr>
            <a:lvl2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Arial (cuerpo)"/>
              </a:defRPr>
            </a:lvl2pPr>
            <a:lvl3pPr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Arial (cuerpo)"/>
              </a:defRPr>
            </a:lvl3pPr>
            <a:lvl4pPr>
              <a:defRPr sz="1100">
                <a:solidFill>
                  <a:schemeClr val="tx1">
                    <a:lumMod val="50000"/>
                    <a:lumOff val="50000"/>
                  </a:schemeClr>
                </a:solidFill>
                <a:latin typeface="Arial (cuerpo)"/>
              </a:defRPr>
            </a:lvl4pPr>
            <a:lvl5pPr>
              <a:defRPr sz="1100">
                <a:solidFill>
                  <a:schemeClr val="tx1">
                    <a:lumMod val="50000"/>
                    <a:lumOff val="50000"/>
                  </a:schemeClr>
                </a:solidFill>
                <a:latin typeface="Arial (cuerpo)"/>
              </a:defRPr>
            </a:lvl5pPr>
          </a:lstStyle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  <p:sp>
        <p:nvSpPr>
          <p:cNvPr id="5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6845804" y="4799605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C01BCB-384F-BC47-B80D-888B5DBFAF56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78969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7 Objeto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1691354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0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457200" y="1980127"/>
            <a:ext cx="8229600" cy="3019637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Arial (cuerpo)"/>
              </a:defRPr>
            </a:lvl1pPr>
            <a:lvl2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Arial (cuerpo)"/>
              </a:defRPr>
            </a:lvl2pPr>
            <a:lvl3pPr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Arial (cuerpo)"/>
              </a:defRPr>
            </a:lvl3pPr>
            <a:lvl4pPr>
              <a:defRPr sz="1100">
                <a:solidFill>
                  <a:schemeClr val="tx1">
                    <a:lumMod val="50000"/>
                    <a:lumOff val="50000"/>
                  </a:schemeClr>
                </a:solidFill>
                <a:latin typeface="Arial (cuerpo)"/>
              </a:defRPr>
            </a:lvl4pPr>
            <a:lvl5pPr>
              <a:defRPr sz="1100">
                <a:solidFill>
                  <a:schemeClr val="tx1">
                    <a:lumMod val="50000"/>
                    <a:lumOff val="50000"/>
                  </a:schemeClr>
                </a:solidFill>
                <a:latin typeface="Arial (cuerpo)"/>
              </a:defRPr>
            </a:lvl5pPr>
          </a:lstStyle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" dirty="0"/>
          </a:p>
        </p:txBody>
      </p:sp>
      <p:sp>
        <p:nvSpPr>
          <p:cNvPr id="9" name="Rectángulo 6"/>
          <p:cNvSpPr/>
          <p:nvPr userDrawn="1"/>
        </p:nvSpPr>
        <p:spPr>
          <a:xfrm>
            <a:off x="2" y="1043158"/>
            <a:ext cx="6244683" cy="578272"/>
          </a:xfrm>
          <a:prstGeom prst="rect">
            <a:avLst/>
          </a:prstGeom>
          <a:solidFill>
            <a:srgbClr val="17375E"/>
          </a:solidFill>
          <a:ln>
            <a:solidFill>
              <a:srgbClr val="17375E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s-ES" sz="1800" dirty="0">
              <a:solidFill>
                <a:prstClr val="white"/>
              </a:solidFill>
            </a:endParaRPr>
          </a:p>
        </p:txBody>
      </p:sp>
      <p:sp>
        <p:nvSpPr>
          <p:cNvPr id="10" name="Título 1"/>
          <p:cNvSpPr>
            <a:spLocks noGrp="1"/>
          </p:cNvSpPr>
          <p:nvPr>
            <p:ph type="title" hasCustomPrompt="1"/>
          </p:nvPr>
        </p:nvSpPr>
        <p:spPr>
          <a:xfrm>
            <a:off x="457200" y="1043158"/>
            <a:ext cx="8229600" cy="578272"/>
          </a:xfrm>
        </p:spPr>
        <p:txBody>
          <a:bodyPr>
            <a:normAutofit/>
          </a:bodyPr>
          <a:lstStyle>
            <a:lvl1pPr algn="l">
              <a:defRPr sz="3600">
                <a:solidFill>
                  <a:srgbClr val="FFFFFF"/>
                </a:solidFill>
                <a:latin typeface="Arial (cuerpo)"/>
              </a:defRPr>
            </a:lvl1pPr>
          </a:lstStyle>
          <a:p>
            <a:r>
              <a:rPr lang="es-ES_tradnl" dirty="0" smtClean="0"/>
              <a:t>Agenda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7862123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2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845804" y="4799605"/>
            <a:ext cx="2133600" cy="273844"/>
          </a:xfrm>
        </p:spPr>
        <p:txBody>
          <a:bodyPr/>
          <a:lstStyle/>
          <a:p>
            <a:fld id="{BDC01BCB-384F-BC47-B80D-888B5DBFAF56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45891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2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845804" y="4799605"/>
            <a:ext cx="2133600" cy="273844"/>
          </a:xfrm>
        </p:spPr>
        <p:txBody>
          <a:bodyPr/>
          <a:lstStyle/>
          <a:p>
            <a:fld id="{BDC01BCB-384F-BC47-B80D-888B5DBFAF56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67351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2222" cy="5143500"/>
          </a:xfrm>
          <a:prstGeom prst="rect">
            <a:avLst/>
          </a:prstGeom>
        </p:spPr>
      </p:pic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57701" y="4767264"/>
            <a:ext cx="2057400" cy="273844"/>
          </a:xfrm>
        </p:spPr>
        <p:txBody>
          <a:bodyPr/>
          <a:lstStyle>
            <a:lvl1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33968F0-9259-2A45-9F8A-690FB51C9F28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32871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"/>
            <a:ext cx="9142222" cy="5143499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484888" y="148268"/>
            <a:ext cx="307975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 </a:t>
            </a:r>
            <a:fld id="{C58DF478-B544-4ED8-9ED4-6A2648E2D233}" type="slidenum">
              <a:rPr lang="en-US" sz="6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Nº›</a:t>
            </a:fld>
            <a:endParaRPr 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40188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2222" cy="5143500"/>
          </a:xfrm>
          <a:prstGeom prst="rect">
            <a:avLst/>
          </a:prstGeom>
        </p:spPr>
      </p:pic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57701" y="4767264"/>
            <a:ext cx="2057400" cy="273844"/>
          </a:xfrm>
        </p:spPr>
        <p:txBody>
          <a:bodyPr/>
          <a:lstStyle>
            <a:lvl1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33968F0-9259-2A45-9F8A-690FB51C9F28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00851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2222" cy="5143500"/>
          </a:xfrm>
          <a:prstGeom prst="rect">
            <a:avLst/>
          </a:prstGeom>
        </p:spPr>
      </p:pic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57701" y="4767264"/>
            <a:ext cx="2057400" cy="273844"/>
          </a:xfrm>
        </p:spPr>
        <p:txBody>
          <a:bodyPr/>
          <a:lstStyle>
            <a:lvl1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33968F0-9259-2A45-9F8A-690FB51C9F28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70819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42222" cy="5143500"/>
          </a:xfrm>
          <a:prstGeom prst="rect">
            <a:avLst/>
          </a:prstGeom>
        </p:spPr>
      </p:pic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57701" y="4767264"/>
            <a:ext cx="2057400" cy="273844"/>
          </a:xfrm>
        </p:spPr>
        <p:txBody>
          <a:bodyPr/>
          <a:lstStyle>
            <a:lvl1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33968F0-9259-2A45-9F8A-690FB51C9F28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44820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2222" cy="5143500"/>
          </a:xfrm>
          <a:prstGeom prst="rect">
            <a:avLst/>
          </a:prstGeom>
        </p:spPr>
      </p:pic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57701" y="4767264"/>
            <a:ext cx="2057400" cy="273844"/>
          </a:xfrm>
        </p:spPr>
        <p:txBody>
          <a:bodyPr/>
          <a:lstStyle>
            <a:lvl1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33968F0-9259-2A45-9F8A-690FB51C9F28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033742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2222" cy="5143500"/>
          </a:xfrm>
          <a:prstGeom prst="rect">
            <a:avLst/>
          </a:prstGeom>
        </p:spPr>
      </p:pic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57701" y="4767264"/>
            <a:ext cx="2057400" cy="273844"/>
          </a:xfrm>
        </p:spPr>
        <p:txBody>
          <a:bodyPr/>
          <a:lstStyle>
            <a:lvl1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33968F0-9259-2A45-9F8A-690FB51C9F28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478184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2222" cy="5143500"/>
          </a:xfrm>
          <a:prstGeom prst="rect">
            <a:avLst/>
          </a:prstGeom>
        </p:spPr>
      </p:pic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57701" y="4767264"/>
            <a:ext cx="2057400" cy="273844"/>
          </a:xfrm>
        </p:spPr>
        <p:txBody>
          <a:bodyPr/>
          <a:lstStyle>
            <a:lvl1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33968F0-9259-2A45-9F8A-690FB51C9F28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536545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2222" cy="5143500"/>
          </a:xfrm>
          <a:prstGeom prst="rect">
            <a:avLst/>
          </a:prstGeom>
        </p:spPr>
      </p:pic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57701" y="4767264"/>
            <a:ext cx="2057400" cy="273844"/>
          </a:xfrm>
        </p:spPr>
        <p:txBody>
          <a:bodyPr/>
          <a:lstStyle>
            <a:lvl1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33968F0-9259-2A45-9F8A-690FB51C9F28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443543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2222" cy="5143500"/>
          </a:xfrm>
          <a:prstGeom prst="rect">
            <a:avLst/>
          </a:prstGeom>
        </p:spPr>
      </p:pic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57701" y="4767264"/>
            <a:ext cx="2057400" cy="273844"/>
          </a:xfrm>
        </p:spPr>
        <p:txBody>
          <a:bodyPr/>
          <a:lstStyle>
            <a:lvl1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33968F0-9259-2A45-9F8A-690FB51C9F28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091742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7 Objeto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1984087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4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Imagen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" y="0"/>
            <a:ext cx="9163083" cy="435482"/>
          </a:xfrm>
          <a:prstGeom prst="rect">
            <a:avLst/>
          </a:prstGeom>
        </p:spPr>
      </p:pic>
      <p:sp>
        <p:nvSpPr>
          <p:cNvPr id="9" name="7 Marcador de número de diapositiva"/>
          <p:cNvSpPr txBox="1">
            <a:spLocks/>
          </p:cNvSpPr>
          <p:nvPr userDrawn="1"/>
        </p:nvSpPr>
        <p:spPr>
          <a:xfrm>
            <a:off x="6876256" y="4793469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C01BCB-384F-BC47-B80D-888B5DBFAF56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2859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"/>
            <a:ext cx="9142222" cy="514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41835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FA5709-C283-475C-AB36-A1036FA866F9}" type="datetime1">
              <a:rPr lang="es-ES_tradnl" smtClean="0"/>
              <a:t>10/09/2019</a:t>
            </a:fld>
            <a:endParaRPr lang="es-ES_tradnl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C9EDEA-BF0A-5748-8B5C-D9F8C9ACFE01}" type="slidenum">
              <a:rPr lang="es-ES_tradnl" smtClean="0"/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4203139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6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9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990902-44C7-42FD-811B-B06EFE3077E2}" type="datetime1">
              <a:rPr lang="es-ES_tradnl" smtClean="0"/>
              <a:t>10/09/2019</a:t>
            </a:fld>
            <a:endParaRPr lang="es-ES_tradnl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C9EDEA-BF0A-5748-8B5C-D9F8C9ACFE01}" type="slidenum">
              <a:rPr lang="es-ES_tradnl" smtClean="0"/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1420863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3B6440-9C44-4A48-B7CA-D44B17FD1A70}" type="datetime1">
              <a:rPr lang="es-ES_tradnl" smtClean="0"/>
              <a:t>10/09/2019</a:t>
            </a:fld>
            <a:endParaRPr lang="es-ES_tradnl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C9EDEA-BF0A-5748-8B5C-D9F8C9ACFE01}" type="slidenum">
              <a:rPr lang="es-ES_tradnl" smtClean="0"/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8364811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4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4" y="1878806"/>
            <a:ext cx="3887391" cy="2763441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BFF848-E5EA-4396-9838-B52256FCD451}" type="datetime1">
              <a:rPr lang="es-ES_tradnl" smtClean="0"/>
              <a:t>10/09/2019</a:t>
            </a:fld>
            <a:endParaRPr lang="es-ES_tradnl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C9EDEA-BF0A-5748-8B5C-D9F8C9ACFE01}" type="slidenum">
              <a:rPr lang="es-ES_tradnl" smtClean="0"/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3112053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90917B-2691-4FF1-9288-C413ED196A77}" type="datetime1">
              <a:rPr lang="es-ES_tradnl" smtClean="0"/>
              <a:t>10/09/2019</a:t>
            </a:fld>
            <a:endParaRPr lang="es-ES_tradnl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C9EDEA-BF0A-5748-8B5C-D9F8C9ACFE01}" type="slidenum">
              <a:rPr lang="es-ES_tradnl" smtClean="0"/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0991870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E7114B-87EA-4EBA-87DC-744EDA0A09CC}" type="datetime1">
              <a:rPr lang="es-ES_tradnl" smtClean="0"/>
              <a:t>10/09/2019</a:t>
            </a:fld>
            <a:endParaRPr lang="es-ES_tradnl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C9EDEA-BF0A-5748-8B5C-D9F8C9ACFE01}" type="slidenum">
              <a:rPr lang="es-ES_tradnl" smtClean="0"/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74253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15.xml"/><Relationship Id="rId16" Type="http://schemas.openxmlformats.org/officeDocument/2006/relationships/theme" Target="../theme/theme2.xml"/><Relationship Id="rId20" Type="http://schemas.openxmlformats.org/officeDocument/2006/relationships/image" Target="../media/image4.emf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pattFill prst="wdUpDiag">
          <a:fgClr>
            <a:schemeClr val="tx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18C3BA-DE5E-4D5E-99F7-38112519C548}" type="datetime1">
              <a:rPr lang="es-ES_tradnl" smtClean="0"/>
              <a:t>10/09/2019</a:t>
            </a:fld>
            <a:endParaRPr lang="es-ES_tradnl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_tradn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C9EDEA-BF0A-5748-8B5C-D9F8C9ACFE01}" type="slidenum">
              <a:rPr lang="es-ES_tradnl" smtClean="0"/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7583277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2" r:id="rId2"/>
    <p:sldLayoutId id="2147483673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  <p:sldLayoutId id="2147483670" r:id="rId12"/>
    <p:sldLayoutId id="2147483671" r:id="rId13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8 Objeto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962233491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2" name="Diapositiva de think-cell" r:id="rId19" imgW="270" imgH="270" progId="TCLayout.ActiveDocument.1">
                  <p:embed/>
                </p:oleObj>
              </mc:Choice>
              <mc:Fallback>
                <p:oleObj name="Diapositiva de think-cell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457200"/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457200"/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457200"/>
            <a:fld id="{66E702DB-6131-6F4B-91A1-C83B3A9F6C9F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 defTabSz="457200"/>
              <a:t>‹Nº›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8103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9.emf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8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9.emf"/><Relationship Id="rId5" Type="http://schemas.openxmlformats.org/officeDocument/2006/relationships/image" Target="../media/image8.png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 idx="4294967295"/>
          </p:nvPr>
        </p:nvSpPr>
        <p:spPr>
          <a:xfrm>
            <a:off x="467544" y="2327301"/>
            <a:ext cx="8208912" cy="614557"/>
          </a:xfrm>
        </p:spPr>
        <p:txBody>
          <a:bodyPr>
            <a:noAutofit/>
          </a:bodyPr>
          <a:lstStyle/>
          <a:p>
            <a:pPr algn="ctr"/>
            <a:r>
              <a:rPr lang="es-ES" sz="2400" b="1" dirty="0" smtClean="0">
                <a:solidFill>
                  <a:schemeClr val="bg1">
                    <a:lumMod val="95000"/>
                  </a:schemeClr>
                </a:solidFill>
              </a:rPr>
              <a:t>Subgerencia Revisión y Formación Crédito</a:t>
            </a:r>
            <a:endParaRPr lang="es-ES" sz="2400" b="1" dirty="0">
              <a:solidFill>
                <a:schemeClr val="bg1">
                  <a:lumMod val="95000"/>
                </a:schemeClr>
              </a:solidFill>
            </a:endParaRPr>
          </a:p>
        </p:txBody>
      </p:sp>
      <p:cxnSp>
        <p:nvCxnSpPr>
          <p:cNvPr id="6" name="Conector recto 5"/>
          <p:cNvCxnSpPr/>
          <p:nvPr/>
        </p:nvCxnSpPr>
        <p:spPr>
          <a:xfrm flipH="1">
            <a:off x="1939384" y="4245936"/>
            <a:ext cx="5008880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ítulo 1"/>
          <p:cNvSpPr txBox="1">
            <a:spLocks/>
          </p:cNvSpPr>
          <p:nvPr/>
        </p:nvSpPr>
        <p:spPr>
          <a:xfrm>
            <a:off x="619944" y="4486288"/>
            <a:ext cx="8208912" cy="4617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r"/>
            <a:endParaRPr lang="es-ES" sz="1400" dirty="0" smtClean="0">
              <a:solidFill>
                <a:schemeClr val="bg1">
                  <a:lumMod val="95000"/>
                </a:schemeClr>
              </a:solidFill>
            </a:endParaRPr>
          </a:p>
          <a:p>
            <a:pPr algn="r"/>
            <a:r>
              <a:rPr lang="es-ES" sz="1400" dirty="0" smtClean="0">
                <a:solidFill>
                  <a:schemeClr val="bg1">
                    <a:lumMod val="95000"/>
                  </a:schemeClr>
                </a:solidFill>
              </a:rPr>
              <a:t>Septiembre 2019</a:t>
            </a:r>
            <a:endParaRPr lang="es-ES" sz="1400" dirty="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1229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48 Grupo"/>
          <p:cNvGrpSpPr/>
          <p:nvPr/>
        </p:nvGrpSpPr>
        <p:grpSpPr>
          <a:xfrm>
            <a:off x="3450574" y="2512354"/>
            <a:ext cx="2178981" cy="506523"/>
            <a:chOff x="4061458" y="1520708"/>
            <a:chExt cx="2178981" cy="506523"/>
          </a:xfrm>
        </p:grpSpPr>
        <p:sp>
          <p:nvSpPr>
            <p:cNvPr id="135" name="Rectangle 8"/>
            <p:cNvSpPr>
              <a:spLocks noChangeArrowheads="1"/>
            </p:cNvSpPr>
            <p:nvPr/>
          </p:nvSpPr>
          <p:spPr bwMode="auto">
            <a:xfrm>
              <a:off x="4080439" y="1523231"/>
              <a:ext cx="2160000" cy="504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r>
                <a:rPr lang="es-CL" sz="9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alista Formación Sr.</a:t>
              </a:r>
            </a:p>
            <a:p>
              <a:pPr algn="ctr" defTabSz="914400"/>
              <a:r>
                <a:rPr lang="es-CL" sz="800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Analista Gestión Sr</a:t>
              </a:r>
              <a:r>
                <a:rPr lang="es-CL" sz="800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)</a:t>
              </a:r>
            </a:p>
            <a:p>
              <a:pPr algn="ctr" defTabSz="914400"/>
              <a:r>
                <a:rPr lang="es-CL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riela Soto </a:t>
              </a:r>
              <a:r>
                <a:rPr lang="es-CL" sz="8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yes</a:t>
              </a:r>
              <a:endParaRPr lang="es-CL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56" name="155 Conector recto"/>
            <p:cNvCxnSpPr/>
            <p:nvPr/>
          </p:nvCxnSpPr>
          <p:spPr>
            <a:xfrm>
              <a:off x="4061458" y="1520708"/>
              <a:ext cx="0" cy="504000"/>
            </a:xfrm>
            <a:prstGeom prst="line">
              <a:avLst/>
            </a:prstGeom>
            <a:ln w="5715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47 Grupo"/>
          <p:cNvGrpSpPr/>
          <p:nvPr/>
        </p:nvGrpSpPr>
        <p:grpSpPr>
          <a:xfrm>
            <a:off x="3450574" y="3176705"/>
            <a:ext cx="2178981" cy="504000"/>
            <a:chOff x="4061458" y="2164740"/>
            <a:chExt cx="2178981" cy="504000"/>
          </a:xfrm>
        </p:grpSpPr>
        <p:sp>
          <p:nvSpPr>
            <p:cNvPr id="129" name="Rectangle 8"/>
            <p:cNvSpPr>
              <a:spLocks noChangeArrowheads="1"/>
            </p:cNvSpPr>
            <p:nvPr/>
          </p:nvSpPr>
          <p:spPr bwMode="auto">
            <a:xfrm>
              <a:off x="4080439" y="2164740"/>
              <a:ext cx="2160000" cy="504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r>
                <a:rPr lang="es-CL" sz="9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alista Formacion Sr</a:t>
              </a:r>
              <a:r>
                <a:rPr lang="es-CL" sz="900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</a:p>
            <a:p>
              <a:pPr algn="ctr" defTabSz="914400"/>
              <a:r>
                <a:rPr lang="es-CL" sz="800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Analista Gestión Sr</a:t>
              </a:r>
              <a:r>
                <a:rPr lang="es-CL" sz="800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)</a:t>
              </a:r>
            </a:p>
            <a:p>
              <a:pPr algn="ctr" defTabSz="914400"/>
              <a:r>
                <a:rPr lang="es-CL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rika Cavieres </a:t>
              </a:r>
              <a:r>
                <a:rPr lang="es-CL" sz="8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uñez</a:t>
              </a:r>
              <a:endParaRPr lang="es-CL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57" name="156 Conector recto"/>
            <p:cNvCxnSpPr/>
            <p:nvPr/>
          </p:nvCxnSpPr>
          <p:spPr>
            <a:xfrm>
              <a:off x="4061458" y="2164740"/>
              <a:ext cx="0" cy="504000"/>
            </a:xfrm>
            <a:prstGeom prst="line">
              <a:avLst/>
            </a:prstGeom>
            <a:ln w="5715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50 Grupo"/>
          <p:cNvGrpSpPr/>
          <p:nvPr/>
        </p:nvGrpSpPr>
        <p:grpSpPr>
          <a:xfrm>
            <a:off x="3450574" y="1851996"/>
            <a:ext cx="2178981" cy="505087"/>
            <a:chOff x="4061458" y="860349"/>
            <a:chExt cx="2178981" cy="505087"/>
          </a:xfrm>
        </p:grpSpPr>
        <p:sp>
          <p:nvSpPr>
            <p:cNvPr id="128" name="Rectangle 8"/>
            <p:cNvSpPr>
              <a:spLocks noChangeArrowheads="1"/>
            </p:cNvSpPr>
            <p:nvPr/>
          </p:nvSpPr>
          <p:spPr bwMode="auto">
            <a:xfrm>
              <a:off x="4080439" y="860349"/>
              <a:ext cx="2160000" cy="504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r>
                <a:rPr lang="es-CL" sz="9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Jefe Depto. Revisión Riesgo</a:t>
              </a:r>
            </a:p>
            <a:p>
              <a:pPr algn="ctr" defTabSz="914400"/>
              <a:r>
                <a:rPr lang="es-CL" sz="9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norista</a:t>
              </a:r>
            </a:p>
            <a:p>
              <a:pPr algn="ctr" defTabSz="914400"/>
              <a:r>
                <a:rPr lang="es-CL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audia Muñoz </a:t>
              </a:r>
              <a:r>
                <a:rPr lang="es-CL" sz="9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rrano</a:t>
              </a:r>
              <a:endParaRPr lang="es-CL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6" name="25 Conector recto"/>
            <p:cNvCxnSpPr/>
            <p:nvPr/>
          </p:nvCxnSpPr>
          <p:spPr>
            <a:xfrm>
              <a:off x="4061458" y="861436"/>
              <a:ext cx="0" cy="504000"/>
            </a:xfrm>
            <a:prstGeom prst="line">
              <a:avLst/>
            </a:prstGeom>
            <a:ln w="571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0" name="119 Conector recto"/>
          <p:cNvCxnSpPr/>
          <p:nvPr/>
        </p:nvCxnSpPr>
        <p:spPr>
          <a:xfrm flipH="1" flipV="1">
            <a:off x="15183398" y="2393022"/>
            <a:ext cx="326323" cy="0"/>
          </a:xfrm>
          <a:prstGeom prst="line">
            <a:avLst/>
          </a:prstGeom>
          <a:ln w="19050" cap="rnd">
            <a:solidFill>
              <a:schemeClr val="bg1">
                <a:lumMod val="65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20 Rectángulo"/>
          <p:cNvSpPr/>
          <p:nvPr/>
        </p:nvSpPr>
        <p:spPr>
          <a:xfrm>
            <a:off x="210626" y="87474"/>
            <a:ext cx="4987952" cy="216024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/>
            <a:r>
              <a:rPr lang="es-CL" sz="1800" dirty="0" smtClean="0">
                <a:solidFill>
                  <a:prstClr val="white"/>
                </a:solidFill>
              </a:rPr>
              <a:t>División Riesgo Crédito Minorista</a:t>
            </a:r>
            <a:endParaRPr lang="es-CL" sz="1800" dirty="0">
              <a:solidFill>
                <a:prstClr val="white"/>
              </a:solidFill>
            </a:endParaRPr>
          </a:p>
        </p:txBody>
      </p:sp>
      <p:grpSp>
        <p:nvGrpSpPr>
          <p:cNvPr id="109" name="108 Grupo"/>
          <p:cNvGrpSpPr/>
          <p:nvPr/>
        </p:nvGrpSpPr>
        <p:grpSpPr>
          <a:xfrm>
            <a:off x="527980" y="2464595"/>
            <a:ext cx="1987587" cy="555596"/>
            <a:chOff x="4252852" y="860349"/>
            <a:chExt cx="1987587" cy="505087"/>
          </a:xfrm>
        </p:grpSpPr>
        <p:sp>
          <p:nvSpPr>
            <p:cNvPr id="112" name="Rectangle 8"/>
            <p:cNvSpPr>
              <a:spLocks noChangeArrowheads="1"/>
            </p:cNvSpPr>
            <p:nvPr/>
          </p:nvSpPr>
          <p:spPr bwMode="auto">
            <a:xfrm>
              <a:off x="4252852" y="860349"/>
              <a:ext cx="1987587" cy="504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r>
                <a:rPr lang="es-CL" sz="9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ubgerente Revisión y </a:t>
              </a:r>
            </a:p>
            <a:p>
              <a:pPr algn="ctr" defTabSz="914400"/>
              <a:r>
                <a:rPr lang="es-CL" sz="9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mación  </a:t>
              </a:r>
              <a:r>
                <a:rPr lang="es-CL" sz="9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rédito</a:t>
              </a:r>
            </a:p>
            <a:p>
              <a:pPr algn="ctr" defTabSz="914400"/>
              <a:r>
                <a:rPr lang="es-CL" sz="9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. </a:t>
              </a:r>
              <a:r>
                <a:rPr lang="es-CL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ecilia Frías </a:t>
              </a:r>
              <a:r>
                <a:rPr lang="es-CL" sz="9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odríguez</a:t>
              </a:r>
              <a:endParaRPr lang="es-CL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45" name="144 Conector recto"/>
            <p:cNvCxnSpPr/>
            <p:nvPr/>
          </p:nvCxnSpPr>
          <p:spPr>
            <a:xfrm>
              <a:off x="4252852" y="861436"/>
              <a:ext cx="0" cy="504000"/>
            </a:xfrm>
            <a:prstGeom prst="line">
              <a:avLst/>
            </a:prstGeom>
            <a:ln w="571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1" name="Rectangle 13">
            <a:hlinkClick r:id="" action="ppaction://noaction"/>
          </p:cNvPr>
          <p:cNvSpPr/>
          <p:nvPr>
            <p:custDataLst>
              <p:tags r:id="rId1"/>
            </p:custDataLst>
          </p:nvPr>
        </p:nvSpPr>
        <p:spPr>
          <a:xfrm>
            <a:off x="446998" y="519470"/>
            <a:ext cx="3338859" cy="192281"/>
          </a:xfrm>
          <a:prstGeom prst="rect">
            <a:avLst/>
          </a:prstGeom>
          <a:noFill/>
          <a:ln w="9525" cap="rnd">
            <a:noFill/>
            <a:prstDash val="sysDot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783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</a:pPr>
            <a:r>
              <a:rPr lang="es-CL" sz="1200" b="1" dirty="0" smtClean="0">
                <a:solidFill>
                  <a:schemeClr val="tx1"/>
                </a:solidFill>
                <a:latin typeface="Arial" panose="020B0604020202020204" pitchFamily="34" charset="0"/>
              </a:rPr>
              <a:t>Organigrama 2019</a:t>
            </a:r>
            <a:endParaRPr lang="es-CL" sz="1200" b="1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pic>
        <p:nvPicPr>
          <p:cNvPr id="153" name="152 Imagen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79"/>
            <a:ext cx="9144000" cy="381719"/>
          </a:xfrm>
          <a:prstGeom prst="rect">
            <a:avLst/>
          </a:prstGeom>
        </p:spPr>
      </p:pic>
      <p:grpSp>
        <p:nvGrpSpPr>
          <p:cNvPr id="190" name="189 Grupo"/>
          <p:cNvGrpSpPr/>
          <p:nvPr/>
        </p:nvGrpSpPr>
        <p:grpSpPr>
          <a:xfrm>
            <a:off x="623516" y="3923628"/>
            <a:ext cx="1624733" cy="893328"/>
            <a:chOff x="393621" y="3804223"/>
            <a:chExt cx="1624733" cy="676959"/>
          </a:xfrm>
        </p:grpSpPr>
        <p:grpSp>
          <p:nvGrpSpPr>
            <p:cNvPr id="191" name="190 Grupo"/>
            <p:cNvGrpSpPr/>
            <p:nvPr/>
          </p:nvGrpSpPr>
          <p:grpSpPr>
            <a:xfrm>
              <a:off x="608981" y="4027696"/>
              <a:ext cx="786242" cy="453486"/>
              <a:chOff x="577689" y="1289235"/>
              <a:chExt cx="786242" cy="453486"/>
            </a:xfrm>
          </p:grpSpPr>
          <p:cxnSp>
            <p:nvCxnSpPr>
              <p:cNvPr id="198" name="197 Conector recto"/>
              <p:cNvCxnSpPr/>
              <p:nvPr/>
            </p:nvCxnSpPr>
            <p:spPr>
              <a:xfrm>
                <a:off x="577689" y="1505600"/>
                <a:ext cx="0" cy="148759"/>
              </a:xfrm>
              <a:prstGeom prst="line">
                <a:avLst/>
              </a:prstGeom>
              <a:ln w="28575">
                <a:solidFill>
                  <a:srgbClr val="00B0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9" name="198 CuadroTexto"/>
              <p:cNvSpPr txBox="1"/>
              <p:nvPr/>
            </p:nvSpPr>
            <p:spPr>
              <a:xfrm>
                <a:off x="611802" y="1289235"/>
                <a:ext cx="558166" cy="21506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ES" sz="8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Jefatura</a:t>
                </a:r>
                <a:endParaRPr lang="es-ES" sz="8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200" name="199 Conector recto"/>
              <p:cNvCxnSpPr/>
              <p:nvPr/>
            </p:nvCxnSpPr>
            <p:spPr>
              <a:xfrm>
                <a:off x="577689" y="1314986"/>
                <a:ext cx="0" cy="148759"/>
              </a:xfrm>
              <a:prstGeom prst="line">
                <a:avLst/>
              </a:prstGeom>
              <a:ln w="28575">
                <a:solidFill>
                  <a:srgbClr val="7030A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01" name="200 CuadroTexto"/>
              <p:cNvSpPr txBox="1"/>
              <p:nvPr/>
            </p:nvSpPr>
            <p:spPr>
              <a:xfrm>
                <a:off x="611802" y="1486167"/>
                <a:ext cx="752129" cy="256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CL" sz="8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Colaborador</a:t>
                </a:r>
              </a:p>
              <a:p>
                <a:endParaRPr lang="es-CL" sz="8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92" name="191 CuadroTexto"/>
            <p:cNvSpPr txBox="1"/>
            <p:nvPr/>
          </p:nvSpPr>
          <p:spPr>
            <a:xfrm>
              <a:off x="393621" y="3804223"/>
              <a:ext cx="1498534" cy="1615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L" sz="8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eyenda</a:t>
              </a:r>
              <a:endParaRPr lang="es-E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93" name="192 Conector recto"/>
            <p:cNvCxnSpPr/>
            <p:nvPr/>
          </p:nvCxnSpPr>
          <p:spPr>
            <a:xfrm>
              <a:off x="487588" y="3995874"/>
              <a:ext cx="1530766" cy="0"/>
            </a:xfrm>
            <a:prstGeom prst="line">
              <a:avLst/>
            </a:prstGeom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0" name="59 Conector recto"/>
          <p:cNvCxnSpPr/>
          <p:nvPr/>
        </p:nvCxnSpPr>
        <p:spPr>
          <a:xfrm>
            <a:off x="415938" y="723784"/>
            <a:ext cx="1401814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 13">
            <a:hlinkClick r:id="" action="ppaction://noaction"/>
          </p:cNvPr>
          <p:cNvSpPr/>
          <p:nvPr>
            <p:custDataLst>
              <p:tags r:id="rId2"/>
            </p:custDataLst>
          </p:nvPr>
        </p:nvSpPr>
        <p:spPr>
          <a:xfrm>
            <a:off x="461170" y="756934"/>
            <a:ext cx="916982" cy="178251"/>
          </a:xfrm>
          <a:prstGeom prst="rect">
            <a:avLst/>
          </a:prstGeom>
          <a:noFill/>
          <a:ln w="9525" cap="rnd">
            <a:noFill/>
            <a:prstDash val="sysDot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783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</a:pPr>
            <a:r>
              <a:rPr lang="es-CL" sz="900" dirty="0" smtClean="0">
                <a:solidFill>
                  <a:schemeClr val="tx1"/>
                </a:solidFill>
                <a:latin typeface="Arial" panose="020B0604020202020204" pitchFamily="34" charset="0"/>
              </a:rPr>
              <a:t>17 Personas</a:t>
            </a:r>
            <a:endParaRPr lang="es-CL" sz="9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pic>
        <p:nvPicPr>
          <p:cNvPr id="52" name="Picture 14"/>
          <p:cNvPicPr>
            <a:picLocks/>
          </p:cNvPicPr>
          <p:nvPr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35" y="510254"/>
            <a:ext cx="293147" cy="292608"/>
          </a:xfrm>
          <a:prstGeom prst="rect">
            <a:avLst/>
          </a:prstGeom>
          <a:solidFill>
            <a:srgbClr val="002060"/>
          </a:solidFill>
        </p:spPr>
      </p:pic>
      <p:cxnSp>
        <p:nvCxnSpPr>
          <p:cNvPr id="53" name="52 Conector recto"/>
          <p:cNvCxnSpPr/>
          <p:nvPr/>
        </p:nvCxnSpPr>
        <p:spPr>
          <a:xfrm>
            <a:off x="5652120" y="2173384"/>
            <a:ext cx="367065" cy="0"/>
          </a:xfrm>
          <a:prstGeom prst="line">
            <a:avLst/>
          </a:prstGeom>
          <a:ln w="19050" cap="rnd">
            <a:solidFill>
              <a:schemeClr val="bg1">
                <a:lumMod val="65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54" name="53 Grupo"/>
          <p:cNvGrpSpPr/>
          <p:nvPr/>
        </p:nvGrpSpPr>
        <p:grpSpPr>
          <a:xfrm>
            <a:off x="6441638" y="648992"/>
            <a:ext cx="1963637" cy="1198489"/>
            <a:chOff x="6497316" y="514938"/>
            <a:chExt cx="2160001" cy="507386"/>
          </a:xfrm>
        </p:grpSpPr>
        <p:sp>
          <p:nvSpPr>
            <p:cNvPr id="55" name="Rectangle 8"/>
            <p:cNvSpPr>
              <a:spLocks noChangeArrowheads="1"/>
            </p:cNvSpPr>
            <p:nvPr/>
          </p:nvSpPr>
          <p:spPr bwMode="auto">
            <a:xfrm>
              <a:off x="6497317" y="518324"/>
              <a:ext cx="2160000" cy="504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s-CL" sz="9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visor de Crédito Sr.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s-CL" sz="9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tonio Guerra Peña</a:t>
              </a:r>
            </a:p>
            <a:p>
              <a:r>
                <a:rPr lang="es-CL" sz="9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visor de Crédito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s-CL" sz="9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guel Gómez Garín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s-CL" sz="9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rina Carrasco Navarro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s-CL" sz="9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oledad Carreño Sánchez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s-CL" sz="9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uis Salazar Huichaqueo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s-CL" sz="9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rcela Courtin Ortiz</a:t>
              </a:r>
            </a:p>
          </p:txBody>
        </p:sp>
        <p:cxnSp>
          <p:nvCxnSpPr>
            <p:cNvPr id="56" name="55 Conector recto"/>
            <p:cNvCxnSpPr/>
            <p:nvPr/>
          </p:nvCxnSpPr>
          <p:spPr>
            <a:xfrm>
              <a:off x="6497316" y="514938"/>
              <a:ext cx="0" cy="504000"/>
            </a:xfrm>
            <a:prstGeom prst="line">
              <a:avLst/>
            </a:prstGeom>
            <a:ln w="5715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7" name="56 Grupo"/>
          <p:cNvGrpSpPr/>
          <p:nvPr/>
        </p:nvGrpSpPr>
        <p:grpSpPr>
          <a:xfrm>
            <a:off x="6457803" y="2177088"/>
            <a:ext cx="1963637" cy="739200"/>
            <a:chOff x="6497316" y="1194117"/>
            <a:chExt cx="2160001" cy="504000"/>
          </a:xfrm>
        </p:grpSpPr>
        <p:sp>
          <p:nvSpPr>
            <p:cNvPr id="58" name="Rectangle 8"/>
            <p:cNvSpPr>
              <a:spLocks noChangeArrowheads="1"/>
            </p:cNvSpPr>
            <p:nvPr/>
          </p:nvSpPr>
          <p:spPr bwMode="auto">
            <a:xfrm>
              <a:off x="6497317" y="1194117"/>
              <a:ext cx="2160000" cy="504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s-CL" sz="9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visor de Crédito Sr.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s-CL" sz="9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anica Koscina Pardo</a:t>
              </a:r>
            </a:p>
            <a:p>
              <a:r>
                <a:rPr lang="es-CL" sz="9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visor de Crédito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s-CL" sz="9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uis Piñones Araya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s-CL" sz="9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drea Velasquez Díaz</a:t>
              </a:r>
            </a:p>
          </p:txBody>
        </p:sp>
        <p:cxnSp>
          <p:nvCxnSpPr>
            <p:cNvPr id="59" name="58 Conector recto"/>
            <p:cNvCxnSpPr/>
            <p:nvPr/>
          </p:nvCxnSpPr>
          <p:spPr>
            <a:xfrm>
              <a:off x="6497316" y="1194117"/>
              <a:ext cx="0" cy="504000"/>
            </a:xfrm>
            <a:prstGeom prst="line">
              <a:avLst/>
            </a:prstGeom>
            <a:ln w="5715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2" name="61 Grupo"/>
          <p:cNvGrpSpPr/>
          <p:nvPr/>
        </p:nvGrpSpPr>
        <p:grpSpPr>
          <a:xfrm>
            <a:off x="6444155" y="3314118"/>
            <a:ext cx="1963637" cy="739200"/>
            <a:chOff x="6497316" y="1852976"/>
            <a:chExt cx="2160001" cy="504000"/>
          </a:xfrm>
        </p:grpSpPr>
        <p:sp>
          <p:nvSpPr>
            <p:cNvPr id="63" name="Rectangle 8"/>
            <p:cNvSpPr>
              <a:spLocks noChangeArrowheads="1"/>
            </p:cNvSpPr>
            <p:nvPr/>
          </p:nvSpPr>
          <p:spPr bwMode="auto">
            <a:xfrm>
              <a:off x="6497317" y="1852976"/>
              <a:ext cx="2160000" cy="504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s-CL" sz="9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visor de Crédito Sr.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s-CL" sz="9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sabel Delgado Tobar</a:t>
              </a:r>
            </a:p>
            <a:p>
              <a:r>
                <a:rPr lang="es-CL" sz="9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visor de Crédito</a:t>
              </a:r>
              <a:endParaRPr lang="es-CL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s-CL" sz="9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ejandro Correa Jiménez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s-CL" sz="9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ustavo Campos Lemarie</a:t>
              </a:r>
              <a:endParaRPr lang="es-CL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64" name="63 Conector recto"/>
            <p:cNvCxnSpPr/>
            <p:nvPr/>
          </p:nvCxnSpPr>
          <p:spPr>
            <a:xfrm>
              <a:off x="6497316" y="1852976"/>
              <a:ext cx="0" cy="504000"/>
            </a:xfrm>
            <a:prstGeom prst="line">
              <a:avLst/>
            </a:prstGeom>
            <a:ln w="5715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5" name="64 Grupo"/>
          <p:cNvGrpSpPr/>
          <p:nvPr/>
        </p:nvGrpSpPr>
        <p:grpSpPr>
          <a:xfrm>
            <a:off x="6457803" y="4391731"/>
            <a:ext cx="1963637" cy="618808"/>
            <a:chOff x="6497316" y="2474838"/>
            <a:chExt cx="2160001" cy="510517"/>
          </a:xfrm>
        </p:grpSpPr>
        <p:sp>
          <p:nvSpPr>
            <p:cNvPr id="66" name="Rectangle 8"/>
            <p:cNvSpPr>
              <a:spLocks noChangeArrowheads="1"/>
            </p:cNvSpPr>
            <p:nvPr/>
          </p:nvSpPr>
          <p:spPr bwMode="auto">
            <a:xfrm>
              <a:off x="6497317" y="2474838"/>
              <a:ext cx="2160000" cy="504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s-CL" sz="9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visor de Crédito Sr.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s-CL" sz="9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galy Galaz Flores</a:t>
              </a:r>
            </a:p>
          </p:txBody>
        </p:sp>
        <p:cxnSp>
          <p:nvCxnSpPr>
            <p:cNvPr id="67" name="66 Conector recto"/>
            <p:cNvCxnSpPr/>
            <p:nvPr/>
          </p:nvCxnSpPr>
          <p:spPr>
            <a:xfrm>
              <a:off x="6497316" y="2481355"/>
              <a:ext cx="0" cy="504000"/>
            </a:xfrm>
            <a:prstGeom prst="line">
              <a:avLst/>
            </a:prstGeom>
            <a:ln w="5715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70" name="69 Conector recto"/>
          <p:cNvCxnSpPr/>
          <p:nvPr/>
        </p:nvCxnSpPr>
        <p:spPr>
          <a:xfrm>
            <a:off x="6012160" y="1225056"/>
            <a:ext cx="0" cy="3463999"/>
          </a:xfrm>
          <a:prstGeom prst="line">
            <a:avLst/>
          </a:prstGeom>
          <a:ln w="19050" cap="rnd">
            <a:solidFill>
              <a:schemeClr val="bg1">
                <a:lumMod val="65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1" name="70 CuadroTexto"/>
          <p:cNvSpPr txBox="1"/>
          <p:nvPr/>
        </p:nvSpPr>
        <p:spPr>
          <a:xfrm>
            <a:off x="6659878" y="432968"/>
            <a:ext cx="149853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nca Personas</a:t>
            </a:r>
            <a:endParaRPr lang="es-ES" sz="10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71 CuadroTexto"/>
          <p:cNvSpPr txBox="1"/>
          <p:nvPr/>
        </p:nvSpPr>
        <p:spPr>
          <a:xfrm>
            <a:off x="6725834" y="1930328"/>
            <a:ext cx="149853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dichile</a:t>
            </a:r>
            <a:endParaRPr lang="es-ES" sz="10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72 CuadroTexto"/>
          <p:cNvSpPr txBox="1"/>
          <p:nvPr/>
        </p:nvSpPr>
        <p:spPr>
          <a:xfrm>
            <a:off x="6742982" y="3082456"/>
            <a:ext cx="149853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nca Pyme</a:t>
            </a:r>
            <a:endParaRPr lang="es-ES" sz="10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73 CuadroTexto"/>
          <p:cNvSpPr txBox="1"/>
          <p:nvPr/>
        </p:nvSpPr>
        <p:spPr>
          <a:xfrm>
            <a:off x="6745888" y="4162576"/>
            <a:ext cx="149853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croempresa</a:t>
            </a:r>
            <a:endParaRPr lang="es-ES" sz="10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5" name="74 Conector recto"/>
          <p:cNvCxnSpPr/>
          <p:nvPr/>
        </p:nvCxnSpPr>
        <p:spPr>
          <a:xfrm flipH="1" flipV="1">
            <a:off x="6012160" y="1225056"/>
            <a:ext cx="434336" cy="0"/>
          </a:xfrm>
          <a:prstGeom prst="line">
            <a:avLst/>
          </a:prstGeom>
          <a:ln w="19050" cap="rnd">
            <a:solidFill>
              <a:schemeClr val="bg1">
                <a:lumMod val="65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" name="75 Conector recto"/>
          <p:cNvCxnSpPr/>
          <p:nvPr/>
        </p:nvCxnSpPr>
        <p:spPr>
          <a:xfrm flipH="1" flipV="1">
            <a:off x="6033344" y="2547974"/>
            <a:ext cx="326323" cy="0"/>
          </a:xfrm>
          <a:prstGeom prst="line">
            <a:avLst/>
          </a:prstGeom>
          <a:ln w="19050" cap="rnd">
            <a:solidFill>
              <a:schemeClr val="bg1">
                <a:lumMod val="65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" name="78 Conector recto"/>
          <p:cNvCxnSpPr/>
          <p:nvPr/>
        </p:nvCxnSpPr>
        <p:spPr>
          <a:xfrm flipH="1" flipV="1">
            <a:off x="6012160" y="3673328"/>
            <a:ext cx="358955" cy="0"/>
          </a:xfrm>
          <a:prstGeom prst="line">
            <a:avLst/>
          </a:prstGeom>
          <a:ln w="19050" cap="rnd">
            <a:solidFill>
              <a:schemeClr val="bg1">
                <a:lumMod val="65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6" name="105 Conector recto"/>
          <p:cNvCxnSpPr/>
          <p:nvPr/>
        </p:nvCxnSpPr>
        <p:spPr>
          <a:xfrm flipH="1" flipV="1">
            <a:off x="6017578" y="4691975"/>
            <a:ext cx="434340" cy="0"/>
          </a:xfrm>
          <a:prstGeom prst="line">
            <a:avLst/>
          </a:prstGeom>
          <a:ln w="19050" cap="rnd">
            <a:solidFill>
              <a:schemeClr val="bg1">
                <a:lumMod val="65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8" name="107 Conector recto"/>
          <p:cNvCxnSpPr/>
          <p:nvPr/>
        </p:nvCxnSpPr>
        <p:spPr>
          <a:xfrm flipH="1" flipV="1">
            <a:off x="2941627" y="2133835"/>
            <a:ext cx="434336" cy="0"/>
          </a:xfrm>
          <a:prstGeom prst="line">
            <a:avLst/>
          </a:prstGeom>
          <a:ln w="19050" cap="rnd">
            <a:solidFill>
              <a:schemeClr val="bg1">
                <a:lumMod val="65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0" name="109 Conector recto"/>
          <p:cNvCxnSpPr/>
          <p:nvPr/>
        </p:nvCxnSpPr>
        <p:spPr>
          <a:xfrm>
            <a:off x="2929464" y="2113009"/>
            <a:ext cx="0" cy="1335522"/>
          </a:xfrm>
          <a:prstGeom prst="line">
            <a:avLst/>
          </a:prstGeom>
          <a:ln w="19050" cap="rnd">
            <a:solidFill>
              <a:schemeClr val="bg1">
                <a:lumMod val="65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1" name="110 Conector recto"/>
          <p:cNvCxnSpPr/>
          <p:nvPr/>
        </p:nvCxnSpPr>
        <p:spPr>
          <a:xfrm flipH="1" flipV="1">
            <a:off x="2934531" y="2747347"/>
            <a:ext cx="434340" cy="0"/>
          </a:xfrm>
          <a:prstGeom prst="line">
            <a:avLst/>
          </a:prstGeom>
          <a:ln w="19050" cap="rnd">
            <a:solidFill>
              <a:schemeClr val="bg1">
                <a:lumMod val="65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3" name="112 Conector recto"/>
          <p:cNvCxnSpPr/>
          <p:nvPr/>
        </p:nvCxnSpPr>
        <p:spPr>
          <a:xfrm flipH="1" flipV="1">
            <a:off x="2931582" y="3435549"/>
            <a:ext cx="434340" cy="0"/>
          </a:xfrm>
          <a:prstGeom prst="line">
            <a:avLst/>
          </a:prstGeom>
          <a:ln w="19050" cap="rnd">
            <a:solidFill>
              <a:schemeClr val="bg1">
                <a:lumMod val="65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4" name="113 Conector recto"/>
          <p:cNvCxnSpPr/>
          <p:nvPr/>
        </p:nvCxnSpPr>
        <p:spPr>
          <a:xfrm>
            <a:off x="2505034" y="2737224"/>
            <a:ext cx="399576" cy="0"/>
          </a:xfrm>
          <a:prstGeom prst="line">
            <a:avLst/>
          </a:prstGeom>
          <a:ln w="19050" cap="rnd">
            <a:solidFill>
              <a:schemeClr val="bg1">
                <a:lumMod val="65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04136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0" name="119 Conector recto"/>
          <p:cNvCxnSpPr/>
          <p:nvPr/>
        </p:nvCxnSpPr>
        <p:spPr>
          <a:xfrm flipH="1" flipV="1">
            <a:off x="15183398" y="2393022"/>
            <a:ext cx="326323" cy="0"/>
          </a:xfrm>
          <a:prstGeom prst="line">
            <a:avLst/>
          </a:prstGeom>
          <a:ln w="19050" cap="rnd">
            <a:solidFill>
              <a:schemeClr val="bg1">
                <a:lumMod val="65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20 Rectángulo"/>
          <p:cNvSpPr/>
          <p:nvPr/>
        </p:nvSpPr>
        <p:spPr>
          <a:xfrm>
            <a:off x="210626" y="87474"/>
            <a:ext cx="4987952" cy="216024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/>
            <a:r>
              <a:rPr lang="es-CL" sz="1800" dirty="0" smtClean="0">
                <a:solidFill>
                  <a:prstClr val="white"/>
                </a:solidFill>
              </a:rPr>
              <a:t>División Riesgo Crédito Minorista</a:t>
            </a:r>
            <a:endParaRPr lang="es-CL" sz="1800" dirty="0">
              <a:solidFill>
                <a:prstClr val="white"/>
              </a:solidFill>
            </a:endParaRPr>
          </a:p>
        </p:txBody>
      </p:sp>
      <p:pic>
        <p:nvPicPr>
          <p:cNvPr id="153" name="152 Imagen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79"/>
            <a:ext cx="9144000" cy="381719"/>
          </a:xfrm>
          <a:prstGeom prst="rect">
            <a:avLst/>
          </a:prstGeom>
        </p:spPr>
      </p:pic>
      <p:graphicFrame>
        <p:nvGraphicFramePr>
          <p:cNvPr id="52" name="49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0320501"/>
              </p:ext>
            </p:extLst>
          </p:nvPr>
        </p:nvGraphicFramePr>
        <p:xfrm>
          <a:off x="106878" y="876506"/>
          <a:ext cx="8609610" cy="41467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377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38941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4144488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187532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473983">
                <a:tc>
                  <a:txBody>
                    <a:bodyPr/>
                    <a:lstStyle/>
                    <a:p>
                      <a:pPr algn="ctr"/>
                      <a:r>
                        <a:rPr lang="es-CL" sz="9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nca</a:t>
                      </a:r>
                      <a:endParaRPr lang="es-CL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9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as Individuales por Revisor</a:t>
                      </a:r>
                      <a:endParaRPr lang="es-CL" sz="90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9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formes Especiales</a:t>
                      </a:r>
                      <a:endParaRPr lang="es-CL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9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 Informes (Enero a Agosto)</a:t>
                      </a:r>
                      <a:endParaRPr lang="es-CL" sz="90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9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 Operaciones revisadas (Enero a Agosto)</a:t>
                      </a:r>
                      <a:endParaRPr lang="es-CL" sz="9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34200">
                <a:tc>
                  <a:txBody>
                    <a:bodyPr/>
                    <a:lstStyle/>
                    <a:p>
                      <a:pPr algn="ctr"/>
                      <a:r>
                        <a:rPr lang="es-CL" sz="9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sonas</a:t>
                      </a:r>
                      <a:endParaRPr lang="es-CL" sz="9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9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Carpetas diarias + Informe de Revisión o su equivalente en número de carpetas por trabajo realizado </a:t>
                      </a:r>
                      <a:endParaRPr lang="es-CL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indent="0" algn="l" fontAlgn="b">
                        <a:buFontTx/>
                        <a:buNone/>
                      </a:pPr>
                      <a:r>
                        <a:rPr lang="es-CL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) 2 Revisiones Atribuciones Zonales  (Septiembre / Diciembre)</a:t>
                      </a:r>
                    </a:p>
                    <a:p>
                      <a:pPr marL="0" indent="0" algn="l" fontAlgn="b">
                        <a:buFontTx/>
                        <a:buNone/>
                      </a:pPr>
                      <a:r>
                        <a:rPr lang="es-CL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) 3 Revisiones Renegociados no Marcados (Marzo / Septiembre / Diciembre)</a:t>
                      </a:r>
                    </a:p>
                    <a:p>
                      <a:pPr marL="0" indent="0" algn="l" fontAlgn="b">
                        <a:buFontTx/>
                        <a:buNone/>
                      </a:pPr>
                      <a:r>
                        <a:rPr lang="es-CL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) 1 Revisión Socofin (Octubre)</a:t>
                      </a:r>
                    </a:p>
                    <a:p>
                      <a:pPr marL="0" indent="0" algn="l" fontAlgn="b">
                        <a:buFontTx/>
                        <a:buNone/>
                      </a:pPr>
                      <a:r>
                        <a:rPr lang="es-CL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) 1 Revisión Crédito Mecanizado Armada (Julio)</a:t>
                      </a:r>
                    </a:p>
                    <a:p>
                      <a:pPr marL="0" indent="0" algn="l" fontAlgn="b">
                        <a:buFontTx/>
                        <a:buNone/>
                      </a:pPr>
                      <a:r>
                        <a:rPr lang="es-CL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) 2 Revisiones </a:t>
                      </a:r>
                      <a:r>
                        <a:rPr lang="es-CL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emitidos</a:t>
                      </a:r>
                      <a:r>
                        <a:rPr lang="es-CL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ucursal (Mayo / Noviembre)</a:t>
                      </a:r>
                    </a:p>
                    <a:p>
                      <a:pPr marL="0" indent="0" algn="l" fontAlgn="b">
                        <a:buFontTx/>
                        <a:buNone/>
                      </a:pPr>
                      <a:r>
                        <a:rPr lang="es-CL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) 1 Revisión Riesgo Admisión Personas (Agosto)</a:t>
                      </a:r>
                    </a:p>
                    <a:p>
                      <a:pPr marL="0" indent="0" algn="l" fontAlgn="b">
                        <a:buFontTx/>
                        <a:buNone/>
                      </a:pPr>
                      <a:r>
                        <a:rPr lang="es-CL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) 2 Revisiones Unidad Centralizada (Célula) (Mayo / Noviembre)</a:t>
                      </a:r>
                    </a:p>
                    <a:p>
                      <a:pPr marL="0" indent="0" algn="l" fontAlgn="b">
                        <a:buFontTx/>
                        <a:buNone/>
                      </a:pPr>
                      <a:r>
                        <a:rPr lang="es-CL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) 4 Informes Consolidados de la Banca Comercial</a:t>
                      </a:r>
                      <a:endParaRPr lang="es-CL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9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6</a:t>
                      </a:r>
                      <a:endParaRPr lang="es-CL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9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161</a:t>
                      </a:r>
                      <a:endParaRPr lang="es-CL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910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9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dichile</a:t>
                      </a:r>
                      <a:endParaRPr lang="es-CL" sz="9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9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 Carpetas diarias + Informe de Revisión o su equivalente en número de carpetas por trabajo realizado </a:t>
                      </a:r>
                      <a:endParaRPr lang="es-CL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L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) 4 Informes Consolidados de la Banca Comercial</a:t>
                      </a:r>
                    </a:p>
                    <a:p>
                      <a:pPr algn="l" fontAlgn="b"/>
                      <a:r>
                        <a:rPr lang="es-CL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) 1 Revisión Socofin (Octubre)</a:t>
                      </a:r>
                    </a:p>
                    <a:p>
                      <a:pPr algn="l" fontAlgn="b"/>
                      <a:r>
                        <a:rPr lang="es-CL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) 2 Revisiones Incumplimiento </a:t>
                      </a:r>
                      <a:r>
                        <a:rPr lang="es-CL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dic</a:t>
                      </a:r>
                      <a:r>
                        <a:rPr lang="es-CL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de Aprobación (Junio / Noviembre)</a:t>
                      </a:r>
                    </a:p>
                    <a:p>
                      <a:pPr algn="l" fontAlgn="b"/>
                      <a:r>
                        <a:rPr lang="es-CL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) 1 Revisión Depto. Análisis de Excepciones (DAE) (Agosto)</a:t>
                      </a:r>
                    </a:p>
                    <a:p>
                      <a:pPr algn="l" fontAlgn="b"/>
                      <a:r>
                        <a:rPr lang="es-CL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) 1 Revisión Depto. Análisis Excepciones Comercial (DAC) (Noviembre)</a:t>
                      </a:r>
                    </a:p>
                    <a:p>
                      <a:pPr algn="l" fontAlgn="b"/>
                      <a:r>
                        <a:rPr lang="es-CL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) Revisión Depto. Análisis Excepciones Comercial (DEC) (Junio / Diciembre)</a:t>
                      </a:r>
                      <a:endParaRPr lang="es-CL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9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5</a:t>
                      </a:r>
                      <a:endParaRPr lang="es-CL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194</a:t>
                      </a:r>
                      <a:endParaRPr lang="es-CL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89136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CL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icroempresa</a:t>
                      </a:r>
                      <a:endParaRPr lang="es-CL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9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Carpetas diarias + Informe de Revisión o su equivalente en número de carpetas por trabajo realizado </a:t>
                      </a:r>
                      <a:endParaRPr lang="es-CL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CL" sz="900" u="none" strike="noStrike" kern="12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) 4 Informes Consolidados de la Banca Comercial</a:t>
                      </a:r>
                    </a:p>
                    <a:p>
                      <a:pPr marL="0" algn="l" defTabSz="914400" rtl="0" eaLnBrk="1" fontAlgn="b" latinLnBrk="0" hangingPunct="1"/>
                      <a:r>
                        <a:rPr lang="es-CL" sz="900" u="none" strike="noStrike" kern="12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) Informe especial al Departamento Evaluación Microempresa (DEM) (Agosto)</a:t>
                      </a:r>
                      <a:endParaRPr lang="es-CL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9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5</a:t>
                      </a:r>
                      <a:endParaRPr lang="es-CL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8</a:t>
                      </a:r>
                      <a:endParaRPr lang="es-CL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780621">
                <a:tc>
                  <a:txBody>
                    <a:bodyPr/>
                    <a:lstStyle/>
                    <a:p>
                      <a:pPr algn="ctr"/>
                      <a:r>
                        <a:rPr lang="es-CL" sz="9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yme</a:t>
                      </a:r>
                      <a:endParaRPr lang="es-CL" sz="9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9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Carpetas diarias + Informe de Revisión o su equivalente en número de carpetas por trabajo realizado </a:t>
                      </a:r>
                      <a:endParaRPr lang="es-CL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L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) 4 </a:t>
                      </a:r>
                      <a:r>
                        <a:rPr lang="es-CL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formes Consolidados de la Banca Comercial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9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5</a:t>
                      </a:r>
                      <a:endParaRPr lang="es-CL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9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475</a:t>
                      </a:r>
                      <a:endParaRPr lang="es-CL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37580471"/>
                  </a:ext>
                </a:extLst>
              </a:tr>
              <a:tr h="130629">
                <a:tc>
                  <a:txBody>
                    <a:bodyPr/>
                    <a:lstStyle/>
                    <a:p>
                      <a:pPr algn="ctr"/>
                      <a:endParaRPr lang="es-CL" sz="9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s-CL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L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s-CL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s-CL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53" name="Picture 14"/>
          <p:cNvPicPr>
            <a:picLocks/>
          </p:cNvPicPr>
          <p:nvPr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35" y="498379"/>
            <a:ext cx="293147" cy="292608"/>
          </a:xfrm>
          <a:prstGeom prst="rect">
            <a:avLst/>
          </a:prstGeom>
          <a:solidFill>
            <a:srgbClr val="002060"/>
          </a:solidFill>
        </p:spPr>
      </p:pic>
      <p:sp>
        <p:nvSpPr>
          <p:cNvPr id="54" name="Rectangle 13">
            <a:hlinkClick r:id="" action="ppaction://noaction"/>
          </p:cNvPr>
          <p:cNvSpPr/>
          <p:nvPr>
            <p:custDataLst>
              <p:tags r:id="rId2"/>
            </p:custDataLst>
          </p:nvPr>
        </p:nvSpPr>
        <p:spPr>
          <a:xfrm>
            <a:off x="446998" y="507595"/>
            <a:ext cx="2094321" cy="192281"/>
          </a:xfrm>
          <a:prstGeom prst="rect">
            <a:avLst/>
          </a:prstGeom>
          <a:noFill/>
          <a:ln w="9525" cap="rnd">
            <a:noFill/>
            <a:prstDash val="sysDot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783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</a:pPr>
            <a:r>
              <a:rPr lang="es-CL" sz="1200" b="1" dirty="0" smtClean="0">
                <a:solidFill>
                  <a:schemeClr val="tx1"/>
                </a:solidFill>
                <a:latin typeface="Arial" panose="020B0604020202020204" pitchFamily="34" charset="0"/>
              </a:rPr>
              <a:t>Metas y Objetivos 2019</a:t>
            </a:r>
            <a:endParaRPr lang="es-CL" sz="1200" b="1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cxnSp>
        <p:nvCxnSpPr>
          <p:cNvPr id="55" name="54 Conector recto"/>
          <p:cNvCxnSpPr/>
          <p:nvPr/>
        </p:nvCxnSpPr>
        <p:spPr>
          <a:xfrm>
            <a:off x="414849" y="739205"/>
            <a:ext cx="186581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0969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eb8066-e192-467e-b626-cce74ea3d803_Topic"/>
  <p:tag name="EE4P_AGENDAWIZARD_CONTENT" val="/Prueba de adaptación"/>
  <p:tag name="EE4P_AGENDAWIZARD_PROPERTIES" val="406.8057/219.8595/262.9179/29.5558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eb8066-e192-467e-b626-cce74ea3d803_Topic"/>
  <p:tag name="EE4P_AGENDAWIZARD_CONTENT" val="/Prueba de adaptación"/>
  <p:tag name="EE4P_AGENDAWIZARD_PROPERTIES" val="406.8057/219.8595/262.9179/29.5558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eb8066-e192-467e-b626-cce74ea3d803_Elemen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eb8066-e192-467e-b626-cce74ea3d803_Elemen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eb8066-e192-467e-b626-cce74ea3d803_Topic"/>
  <p:tag name="EE4P_AGENDAWIZARD_CONTENT" val="/Prueba de adaptación"/>
  <p:tag name="EE4P_AGENDAWIZARD_PROPERTIES" val="406.8057/219.8595/262.9179/29.55583"/>
</p:tagLst>
</file>

<file path=ppt/theme/theme1.xml><?xml version="1.0" encoding="utf-8"?>
<a:theme xmlns:a="http://schemas.openxmlformats.org/drawingml/2006/main" name="Tema de Office">
  <a:themeElements>
    <a:clrScheme name="Tema d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e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6456</TotalTime>
  <Words>445</Words>
  <Application>Microsoft Office PowerPoint</Application>
  <PresentationFormat>Presentación en pantalla (16:9)</PresentationFormat>
  <Paragraphs>87</Paragraphs>
  <Slides>3</Slides>
  <Notes>2</Notes>
  <HiddenSlides>0</HiddenSlides>
  <MMClips>0</MMClips>
  <ScaleCrop>false</ScaleCrop>
  <HeadingPairs>
    <vt:vector size="6" baseType="variant"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3</vt:i4>
      </vt:variant>
    </vt:vector>
  </HeadingPairs>
  <TitlesOfParts>
    <vt:vector size="6" baseType="lpstr">
      <vt:lpstr>Tema de Office</vt:lpstr>
      <vt:lpstr>1_Tema de Office</vt:lpstr>
      <vt:lpstr>Diapositiva de think-cell</vt:lpstr>
      <vt:lpstr>Subgerencia Revisión y Formación Crédito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Usuario de Microsoft Office</dc:creator>
  <cp:lastModifiedBy>Maria Cecilia Frias Rodriguez</cp:lastModifiedBy>
  <cp:revision>1530</cp:revision>
  <cp:lastPrinted>2019-07-09T14:45:41Z</cp:lastPrinted>
  <dcterms:created xsi:type="dcterms:W3CDTF">2018-03-14T13:03:41Z</dcterms:created>
  <dcterms:modified xsi:type="dcterms:W3CDTF">2019-09-10T21:38:54Z</dcterms:modified>
</cp:coreProperties>
</file>

<file path=docProps/custom.xml><?xml version="1.0" encoding="utf-8"?>
<op:Properties xmlns:vt="http://schemas.openxmlformats.org/officeDocument/2006/docPropsVTypes" xmlns:op="http://schemas.openxmlformats.org/officeDocument/2006/custom-properties">
  <op:property fmtid="{D5CDD505-2E9C-101B-9397-08002B2CF9AE}" pid="2" name="TitusGUID">
    <vt:lpwstr>f5f950d0-4bba-4e83-8ccd-bfa4677eca25</vt:lpwstr>
  </op:property>
  <op:property fmtid="{D5CDD505-2E9C-101B-9397-08002B2CF9AE}" pid="3" name="Clasificacion">
    <vt:lpwstr>Interna</vt:lpwstr>
  </op:property>
  <op:property fmtid="{D5CDD505-2E9C-101B-9397-08002B2CF9AE}" pid="4" name="KriptosClassAi">
    <vt:lpwstr>2-Restringido</vt:lpwstr>
  </op:property>
</op:Properties>
</file>